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  <p:sldMasterId id="2147483656" r:id="rId3"/>
  </p:sldMasterIdLst>
  <p:notesMasterIdLst>
    <p:notesMasterId r:id="rId14"/>
  </p:notesMasterIdLst>
  <p:sldIdLst>
    <p:sldId id="284" r:id="rId4"/>
    <p:sldId id="257" r:id="rId5"/>
    <p:sldId id="268" r:id="rId6"/>
    <p:sldId id="259" r:id="rId7"/>
    <p:sldId id="271" r:id="rId8"/>
    <p:sldId id="262" r:id="rId9"/>
    <p:sldId id="283" r:id="rId10"/>
    <p:sldId id="260" r:id="rId11"/>
    <p:sldId id="272" r:id="rId12"/>
    <p:sldId id="282" r:id="rId13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5" roundtripDataSignature="AMtx7mggHTocux73eUUS8qCNXO43N9vIV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850"/>
    <p:restoredTop sz="94479"/>
  </p:normalViewPr>
  <p:slideViewPr>
    <p:cSldViewPr snapToGrid="0">
      <p:cViewPr varScale="1">
        <p:scale>
          <a:sx n="108" d="100"/>
          <a:sy n="108" d="100"/>
        </p:scale>
        <p:origin x="1064" y="200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customschemas.google.com/relationships/presentationmetadata" Target="metadata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4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78868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9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9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9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63867" y="2267379"/>
            <a:ext cx="3138744" cy="690070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397" b="0" cap="all" spc="74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336042" indent="0">
              <a:buNone/>
              <a:defRPr sz="1397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63867" y="3080676"/>
            <a:ext cx="3138744" cy="25450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58827" y="3080676"/>
            <a:ext cx="3126422" cy="254508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58827" y="2267379"/>
            <a:ext cx="3138744" cy="690070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397" b="0" cap="all" spc="74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336042" indent="0">
              <a:buNone/>
              <a:defRPr sz="1397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7D4976-E339-4826-83B7-FBD03F55ECF8}" type="datetimeFigureOut">
              <a:rPr lang="en-US" dirty="0"/>
              <a:t>10/5/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7792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37C31-9E7A-4F99-8774-A0E530DE1A42}" type="datetimeFigureOut">
              <a:rPr lang="en-US" dirty="0"/>
              <a:t>10/5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8401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8504F-A551-4DE0-9316-4DCD1D8CC752}" type="datetimeFigureOut">
              <a:rPr lang="en-US" dirty="0"/>
              <a:t>10/5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2823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4480719" cy="67214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591455" y="2199160"/>
            <a:ext cx="3297809" cy="1118773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rmAutofit/>
          </a:bodyPr>
          <a:lstStyle>
            <a:lvl1pPr>
              <a:defRPr sz="1617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1195" y="788653"/>
            <a:ext cx="3539768" cy="5144169"/>
          </a:xfrm>
        </p:spPr>
        <p:txBody>
          <a:bodyPr>
            <a:normAutofit/>
          </a:bodyPr>
          <a:lstStyle>
            <a:lvl1pPr>
              <a:defRPr sz="1397">
                <a:solidFill>
                  <a:schemeClr val="tx1"/>
                </a:solidFill>
              </a:defRPr>
            </a:lvl1pPr>
            <a:lvl2pPr>
              <a:defRPr sz="1176">
                <a:solidFill>
                  <a:schemeClr val="tx1"/>
                </a:solidFill>
              </a:defRPr>
            </a:lvl2pPr>
            <a:lvl3pPr>
              <a:defRPr sz="1176">
                <a:solidFill>
                  <a:schemeClr val="tx1"/>
                </a:solidFill>
              </a:defRPr>
            </a:lvl3pPr>
            <a:lvl4pPr>
              <a:defRPr sz="1176">
                <a:solidFill>
                  <a:schemeClr val="tx1"/>
                </a:solidFill>
              </a:defRPr>
            </a:lvl4pPr>
            <a:lvl5pPr>
              <a:defRPr sz="1176">
                <a:solidFill>
                  <a:schemeClr val="tx1"/>
                </a:solidFill>
              </a:defRPr>
            </a:lvl5pPr>
            <a:lvl6pPr>
              <a:defRPr sz="1176"/>
            </a:lvl6pPr>
            <a:lvl7pPr>
              <a:defRPr sz="1176"/>
            </a:lvl7pPr>
            <a:lvl8pPr>
              <a:defRPr sz="1176"/>
            </a:lvl8pPr>
            <a:lvl9pPr>
              <a:defRPr sz="117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9971" y="3479249"/>
            <a:ext cx="2789248" cy="2150358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103">
                <a:solidFill>
                  <a:srgbClr val="FFFFFF"/>
                </a:solidFill>
              </a:defRPr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BE4249-C0D0-4B06-8692-E8BB871AF643}" type="datetimeFigureOut">
              <a:rPr lang="en-US" dirty="0"/>
              <a:t>10/5/20</a:t>
            </a:fld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591456" y="6112061"/>
            <a:ext cx="3766859" cy="313669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92482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1" y="0"/>
            <a:ext cx="4480718" cy="67214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594285" y="2199159"/>
            <a:ext cx="3303941" cy="1112052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Autofit/>
          </a:bodyPr>
          <a:lstStyle>
            <a:lvl1pPr>
              <a:defRPr sz="1617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80719" y="0"/>
            <a:ext cx="4485200" cy="6721475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2352">
                <a:solidFill>
                  <a:schemeClr val="bg1">
                    <a:lumMod val="85000"/>
                    <a:lumOff val="15000"/>
                  </a:schemeClr>
                </a:solidFill>
              </a:defRPr>
            </a:lvl1pPr>
            <a:lvl2pPr marL="336042" indent="0">
              <a:buNone/>
              <a:defRPr sz="2058"/>
            </a:lvl2pPr>
            <a:lvl3pPr marL="672084" indent="0">
              <a:buNone/>
              <a:defRPr sz="1764"/>
            </a:lvl3pPr>
            <a:lvl4pPr marL="1008126" indent="0">
              <a:buNone/>
              <a:defRPr sz="1470"/>
            </a:lvl4pPr>
            <a:lvl5pPr marL="1344168" indent="0">
              <a:buNone/>
              <a:defRPr sz="1470"/>
            </a:lvl5pPr>
            <a:lvl6pPr marL="1680210" indent="0">
              <a:buNone/>
              <a:defRPr sz="1470"/>
            </a:lvl6pPr>
            <a:lvl7pPr marL="2016252" indent="0">
              <a:buNone/>
              <a:defRPr sz="1470"/>
            </a:lvl7pPr>
            <a:lvl8pPr marL="2352294" indent="0">
              <a:buNone/>
              <a:defRPr sz="1470"/>
            </a:lvl8pPr>
            <a:lvl9pPr marL="2688336" indent="0">
              <a:buNone/>
              <a:defRPr sz="147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9971" y="3479249"/>
            <a:ext cx="2789248" cy="2150359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103">
                <a:solidFill>
                  <a:srgbClr val="FFFFFF"/>
                </a:solidFill>
              </a:defRPr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3000"/>
                    </a:prstClr>
                  </a:outerShdw>
                </a:effectLst>
              </a:defRPr>
            </a:lvl1pPr>
          </a:lstStyle>
          <a:p>
            <a:fld id="{042B0DB6-F5C7-45FB-8CF3-31B45F9C2DAC}" type="datetimeFigureOut">
              <a:rPr lang="en-US" dirty="0"/>
              <a:t>10/5/20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591456" y="6112061"/>
            <a:ext cx="3766859" cy="313669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4003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9C37B-1D36-470B-8223-D6C91242EC14}" type="datetimeFigureOut">
              <a:rPr lang="en-US" dirty="0"/>
              <a:t>10/5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029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360263" y="918602"/>
            <a:ext cx="954511" cy="488427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39944" y="918602"/>
            <a:ext cx="4556051" cy="4884272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C6F52A-A82B-47A2-A83A-8C4C91F2D59F}" type="datetimeFigureOut">
              <a:rPr lang="en-US" dirty="0"/>
              <a:t>10/5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47813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0A7B3-6521-4DCA-87E5-044747A908C1}" type="datetimeFigureOut">
              <a:rPr lang="en-US" dirty="0"/>
              <a:t>10/5/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4187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1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6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2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type="tx">
  <p:cSld name="TITLE_AND_BOD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3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371475" algn="l"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marL="1371600" lvl="2" indent="-365760" algn="l"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marL="1828800" lvl="3" indent="-365760" algn="l"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marL="2286000" lvl="4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marL="2743200" lvl="5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marL="3200400" lvl="6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marL="3657600" lvl="7" indent="-33032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marL="4114800" lvl="8" indent="-33032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White">
          <a:xfrm>
            <a:off x="1176189" y="2339230"/>
            <a:ext cx="6609061" cy="1613154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 algn="ctr">
              <a:defRPr sz="2793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81038" y="4265896"/>
            <a:ext cx="4999362" cy="1215211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147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36042" indent="0" algn="ctr">
              <a:buNone/>
              <a:defRPr sz="1470"/>
            </a:lvl2pPr>
            <a:lvl3pPr marL="672084" indent="0" algn="ctr">
              <a:buNone/>
              <a:defRPr sz="1323"/>
            </a:lvl3pPr>
            <a:lvl4pPr marL="1008126" indent="0" algn="ctr">
              <a:buNone/>
              <a:defRPr sz="1176"/>
            </a:lvl4pPr>
            <a:lvl5pPr marL="1344168" indent="0" algn="ctr">
              <a:buNone/>
              <a:defRPr sz="1176"/>
            </a:lvl5pPr>
            <a:lvl6pPr marL="1680210" indent="0" algn="ctr">
              <a:buNone/>
              <a:defRPr sz="1176"/>
            </a:lvl6pPr>
            <a:lvl7pPr marL="2016252" indent="0" algn="ctr">
              <a:buNone/>
              <a:defRPr sz="1176"/>
            </a:lvl7pPr>
            <a:lvl8pPr marL="2352294" indent="0" algn="ctr">
              <a:buNone/>
              <a:defRPr sz="1176"/>
            </a:lvl8pPr>
            <a:lvl9pPr marL="2688336" indent="0" algn="ctr">
              <a:buNone/>
              <a:defRPr sz="1176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0EA64-D806-43AC-9DF2-F8C432F32B4C}" type="datetimeFigureOut">
              <a:rPr lang="en-US" dirty="0"/>
              <a:t>10/5/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3145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0A7B3-6521-4DCA-87E5-044747A908C1}" type="datetimeFigureOut">
              <a:rPr lang="en-US" dirty="0"/>
              <a:t>10/5/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1039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176189" y="2339230"/>
            <a:ext cx="6609061" cy="1613154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>
              <a:defRPr sz="2793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81038" y="4265819"/>
            <a:ext cx="4999362" cy="1239897"/>
          </a:xfrm>
        </p:spPr>
        <p:txBody>
          <a:bodyPr anchor="t" anchorCtr="1">
            <a:normAutofit/>
          </a:bodyPr>
          <a:lstStyle>
            <a:lvl1pPr marL="0" indent="0">
              <a:buNone/>
              <a:defRPr sz="1470">
                <a:solidFill>
                  <a:schemeClr val="tx1"/>
                </a:solidFill>
              </a:defRPr>
            </a:lvl1pPr>
            <a:lvl2pPr marL="336042" indent="0">
              <a:buNone/>
              <a:defRPr sz="1470">
                <a:solidFill>
                  <a:schemeClr val="tx1">
                    <a:tint val="75000"/>
                  </a:schemeClr>
                </a:solidFill>
              </a:defRPr>
            </a:lvl2pPr>
            <a:lvl3pPr marL="672084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3pPr>
            <a:lvl4pPr marL="100812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4pPr>
            <a:lvl5pPr marL="1344168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5pPr>
            <a:lvl6pPr marL="1680210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6pPr>
            <a:lvl7pPr marL="2016252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7pPr>
            <a:lvl8pPr marL="2352294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8pPr>
            <a:lvl9pPr marL="268833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0EA64-D806-43AC-9DF2-F8C432F32B4C}" type="datetimeFigureOut">
              <a:rPr lang="en-US" dirty="0"/>
              <a:t>10/5/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90111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62747" y="2585527"/>
            <a:ext cx="3139863" cy="30402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8827" y="2585527"/>
            <a:ext cx="3138743" cy="30402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134690-1557-4C89-A502-4959FE7FAD70}" type="datetimeFigureOut">
              <a:rPr lang="en-US" dirty="0"/>
              <a:t>10/5/20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98913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7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r:id="rId5" imgW="158750" imgH="158750" progId="TCLayout.ActiveDocument.1">
                  <p:embed/>
                </p:oleObj>
              </mc:Choice>
              <mc:Fallback>
                <p:oleObj r:id="rId5" imgW="158750" imgH="158750" progId="TCLayout.ActiveDocument.1">
                  <p:embed/>
                  <p:pic>
                    <p:nvPicPr>
                      <p:cNvPr id="8" name="Google Shape;8;p7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7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7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7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7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  <p:sldLayoutId id="2147483655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0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675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29"/>
              <a:buFont typeface="Arial"/>
              <a:buChar char="▪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179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–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179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▫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0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10"/>
          <p:cNvSpPr txBox="1"/>
          <p:nvPr/>
        </p:nvSpPr>
        <p:spPr>
          <a:xfrm>
            <a:off x="8671366" y="6503196"/>
            <a:ext cx="118623" cy="117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764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764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8;p10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1639943" y="945487"/>
            <a:ext cx="5681552" cy="1165056"/>
          </a:xfrm>
          <a:prstGeom prst="rect">
            <a:avLst/>
          </a:prstGeom>
          <a:solidFill>
            <a:srgbClr val="FFFFFF"/>
          </a:solidFill>
          <a:ln w="31750" cap="sq">
            <a:solidFill>
              <a:srgbClr val="404040"/>
            </a:solidFill>
            <a:miter lim="800000"/>
          </a:ln>
        </p:spPr>
        <p:txBody>
          <a:bodyPr vert="horz" lIns="182880" tIns="182880" rIns="182880" bIns="18288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39943" y="2585528"/>
            <a:ext cx="5681552" cy="30402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48954" y="6114617"/>
            <a:ext cx="2024075" cy="3175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72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fld id="{1160EA64-D806-43AC-9DF2-F8C432F32B4C}" type="datetimeFigureOut">
              <a:rPr lang="en-US" dirty="0"/>
              <a:t>10/5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76189" y="6112061"/>
            <a:ext cx="4337528" cy="3136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72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08088" y="6094137"/>
            <a:ext cx="268843" cy="358479"/>
          </a:xfrm>
          <a:prstGeom prst="ellipse">
            <a:avLst/>
          </a:prstGeom>
          <a:solidFill>
            <a:srgbClr val="1D1D1D">
              <a:alpha val="70000"/>
            </a:srgbClr>
          </a:solidFill>
        </p:spPr>
        <p:txBody>
          <a:bodyPr vert="horz" lIns="18288" tIns="45720" rIns="18288" bIns="45720" rtlCol="0" anchor="ctr">
            <a:noAutofit/>
          </a:bodyPr>
          <a:lstStyle>
            <a:lvl1pPr algn="ctr">
              <a:defRPr sz="809" spc="0" baseline="0">
                <a:solidFill>
                  <a:srgbClr val="FFFFFF"/>
                </a:solidFill>
              </a:defRPr>
            </a:lvl1pPr>
          </a:lstStyle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974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</p:sldLayoutIdLst>
  <p:hf sldNum="0" hdr="0" ftr="0" dt="0"/>
  <p:txStyles>
    <p:titleStyle>
      <a:lvl1pPr algn="ctr" defTabSz="672084" rtl="0" eaLnBrk="1" latinLnBrk="0" hangingPunct="1">
        <a:lnSpc>
          <a:spcPct val="90000"/>
        </a:lnSpc>
        <a:spcBef>
          <a:spcPct val="0"/>
        </a:spcBef>
        <a:buNone/>
        <a:defRPr sz="2058" kern="1200" cap="all" spc="147" baseline="0">
          <a:solidFill>
            <a:srgbClr val="262626"/>
          </a:solidFill>
          <a:latin typeface="+mj-lt"/>
          <a:ea typeface="+mj-ea"/>
          <a:cs typeface="+mj-cs"/>
        </a:defRPr>
      </a:lvl1pPr>
    </p:titleStyle>
    <p:bodyStyle>
      <a:lvl1pPr marL="168021" indent="-168021" algn="l" defTabSz="672084" rtl="0" eaLnBrk="1" latinLnBrk="0" hangingPunct="1">
        <a:lnSpc>
          <a:spcPct val="100000"/>
        </a:lnSpc>
        <a:spcBef>
          <a:spcPts val="735"/>
        </a:spcBef>
        <a:buClr>
          <a:schemeClr val="accent2"/>
        </a:buClr>
        <a:buFont typeface="Arial" panose="020B0604020202020204" pitchFamily="34" charset="0"/>
        <a:buChar char="•"/>
        <a:defRPr sz="1323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36042" indent="-168021" algn="l" defTabSz="672084" rtl="0" eaLnBrk="1" latinLnBrk="0" hangingPunct="1">
        <a:lnSpc>
          <a:spcPct val="100000"/>
        </a:lnSpc>
        <a:spcBef>
          <a:spcPts val="735"/>
        </a:spcBef>
        <a:buClr>
          <a:schemeClr val="accent2"/>
        </a:buClr>
        <a:buFont typeface="Arial" panose="020B0604020202020204" pitchFamily="34" charset="0"/>
        <a:buChar char="•"/>
        <a:defRPr sz="1176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04063" indent="-168021" algn="l" defTabSz="672084" rtl="0" eaLnBrk="1" latinLnBrk="0" hangingPunct="1">
        <a:lnSpc>
          <a:spcPct val="100000"/>
        </a:lnSpc>
        <a:spcBef>
          <a:spcPts val="735"/>
        </a:spcBef>
        <a:buClr>
          <a:schemeClr val="accent2"/>
        </a:buClr>
        <a:buFont typeface="Arial" panose="020B0604020202020204" pitchFamily="34" charset="0"/>
        <a:buChar char="•"/>
        <a:defRPr sz="1176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672084" indent="-168021" algn="l" defTabSz="672084" rtl="0" eaLnBrk="1" latinLnBrk="0" hangingPunct="1">
        <a:lnSpc>
          <a:spcPct val="100000"/>
        </a:lnSpc>
        <a:spcBef>
          <a:spcPts val="735"/>
        </a:spcBef>
        <a:buClr>
          <a:schemeClr val="accent2"/>
        </a:buClr>
        <a:buFont typeface="Arial" panose="020B0604020202020204" pitchFamily="34" charset="0"/>
        <a:buChar char="•"/>
        <a:defRPr sz="1176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840105" indent="-168021" algn="l" defTabSz="672084" rtl="0" eaLnBrk="1" latinLnBrk="0" hangingPunct="1">
        <a:lnSpc>
          <a:spcPct val="100000"/>
        </a:lnSpc>
        <a:spcBef>
          <a:spcPts val="735"/>
        </a:spcBef>
        <a:buClr>
          <a:schemeClr val="accent2"/>
        </a:buClr>
        <a:buFont typeface="Arial" panose="020B0604020202020204" pitchFamily="34" charset="0"/>
        <a:buChar char="•"/>
        <a:defRPr sz="1176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964954" indent="-168021" algn="l" defTabSz="672084" rtl="0" eaLnBrk="1" latinLnBrk="0" hangingPunct="1">
        <a:lnSpc>
          <a:spcPct val="100000"/>
        </a:lnSpc>
        <a:spcBef>
          <a:spcPts val="735"/>
        </a:spcBef>
        <a:buClr>
          <a:schemeClr val="accent2"/>
        </a:buClr>
        <a:buFont typeface="Arial" panose="020B0604020202020204" pitchFamily="34" charset="0"/>
        <a:buChar char="•"/>
        <a:defRPr sz="1176" kern="1200">
          <a:solidFill>
            <a:schemeClr val="tx1"/>
          </a:solidFill>
          <a:latin typeface="+mn-lt"/>
          <a:ea typeface="+mn-ea"/>
          <a:cs typeface="+mn-cs"/>
        </a:defRPr>
      </a:lvl6pPr>
      <a:lvl7pPr marL="1090970" indent="-168021" algn="l" defTabSz="672084" rtl="0" eaLnBrk="1" latinLnBrk="0" hangingPunct="1">
        <a:lnSpc>
          <a:spcPct val="100000"/>
        </a:lnSpc>
        <a:spcBef>
          <a:spcPts val="735"/>
        </a:spcBef>
        <a:buClr>
          <a:schemeClr val="accent2"/>
        </a:buClr>
        <a:buFont typeface="Arial" panose="020B0604020202020204" pitchFamily="34" charset="0"/>
        <a:buChar char="•"/>
        <a:defRPr sz="1176" kern="1200">
          <a:solidFill>
            <a:schemeClr val="tx1"/>
          </a:solidFill>
          <a:latin typeface="+mn-lt"/>
          <a:ea typeface="+mn-ea"/>
          <a:cs typeface="+mn-cs"/>
        </a:defRPr>
      </a:lvl7pPr>
      <a:lvl8pPr marL="1218152" indent="-168021" algn="l" defTabSz="672084" rtl="0" eaLnBrk="1" latinLnBrk="0" hangingPunct="1">
        <a:lnSpc>
          <a:spcPct val="100000"/>
        </a:lnSpc>
        <a:spcBef>
          <a:spcPts val="735"/>
        </a:spcBef>
        <a:buClr>
          <a:schemeClr val="accent2"/>
        </a:buClr>
        <a:buFont typeface="Arial" panose="020B0604020202020204" pitchFamily="34" charset="0"/>
        <a:buChar char="•"/>
        <a:defRPr sz="1176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383840" indent="-168021" algn="l" defTabSz="672084" rtl="0" eaLnBrk="1" latinLnBrk="0" hangingPunct="1">
        <a:lnSpc>
          <a:spcPct val="100000"/>
        </a:lnSpc>
        <a:spcBef>
          <a:spcPts val="735"/>
        </a:spcBef>
        <a:buClr>
          <a:schemeClr val="accent2"/>
        </a:buClr>
        <a:buFont typeface="Arial" panose="020B0604020202020204" pitchFamily="34" charset="0"/>
        <a:buChar char="•"/>
        <a:defRPr sz="1176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tif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tiff"/><Relationship Id="rId5" Type="http://schemas.openxmlformats.org/officeDocument/2006/relationships/image" Target="../media/image10.tiff"/><Relationship Id="rId4" Type="http://schemas.openxmlformats.org/officeDocument/2006/relationships/image" Target="../media/image9.tif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BA602F-758E-1341-907E-ACB2CE4974B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Volkswagen used car market insights and predict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8DC68A-5E26-164F-A2B9-EE7848653DD4}"/>
              </a:ext>
            </a:extLst>
          </p:cNvPr>
          <p:cNvSpPr txBox="1">
            <a:spLocks/>
          </p:cNvSpPr>
          <p:nvPr/>
        </p:nvSpPr>
        <p:spPr>
          <a:xfrm>
            <a:off x="819972" y="4780028"/>
            <a:ext cx="2789247" cy="99386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021" indent="-168021" defTabSz="672084">
              <a:spcBef>
                <a:spcPts val="735"/>
              </a:spcBef>
              <a:buClr>
                <a:srgbClr val="9BAFB5"/>
              </a:buClr>
            </a:pPr>
            <a:r>
              <a:rPr lang="en-US" sz="1323" dirty="0">
                <a:solidFill>
                  <a:srgbClr val="FFFFFF">
                    <a:lumMod val="85000"/>
                    <a:lumOff val="15000"/>
                  </a:srgbClr>
                </a:solidFill>
                <a:latin typeface="Gill Sans MT" panose="020B0502020104020203"/>
              </a:rPr>
              <a:t>HANDE TOKGOZ UTKU</a:t>
            </a:r>
          </a:p>
          <a:p>
            <a:pPr marL="168021" indent="-168021" defTabSz="672084">
              <a:spcBef>
                <a:spcPts val="735"/>
              </a:spcBef>
              <a:buClr>
                <a:srgbClr val="9BAFB5"/>
              </a:buClr>
            </a:pPr>
            <a:r>
              <a:rPr lang="en-US" sz="1323" dirty="0">
                <a:solidFill>
                  <a:srgbClr val="FFFFFF">
                    <a:lumMod val="85000"/>
                    <a:lumOff val="15000"/>
                  </a:srgbClr>
                </a:solidFill>
                <a:latin typeface="Gill Sans MT" panose="020B0502020104020203"/>
              </a:rPr>
              <a:t>Date:</a:t>
            </a:r>
          </a:p>
        </p:txBody>
      </p:sp>
    </p:spTree>
    <p:extLst>
      <p:ext uri="{BB962C8B-B14F-4D97-AF65-F5344CB8AC3E}">
        <p14:creationId xmlns:p14="http://schemas.microsoft.com/office/powerpoint/2010/main" val="34246374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A8DC32-5863-2F4B-B924-063E9D456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" y="427561"/>
            <a:ext cx="8412479" cy="602744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APPENDIX: SCATTERPLOT OF ALL CONTINUOUS VARIAB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1EEF54-1FE1-6B44-BE95-7B9917341911}"/>
              </a:ext>
            </a:extLst>
          </p:cNvPr>
          <p:cNvSpPr txBox="1"/>
          <p:nvPr/>
        </p:nvSpPr>
        <p:spPr>
          <a:xfrm>
            <a:off x="4312692" y="2842654"/>
            <a:ext cx="184731" cy="2507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029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FDFBF21-9983-454F-A8D7-F188D9F81A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880" y="902590"/>
            <a:ext cx="8562109" cy="5633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602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3"/>
          <p:cNvSpPr txBox="1">
            <a:spLocks noGrp="1"/>
          </p:cNvSpPr>
          <p:nvPr>
            <p:ph type="title"/>
          </p:nvPr>
        </p:nvSpPr>
        <p:spPr>
          <a:xfrm>
            <a:off x="138703" y="110804"/>
            <a:ext cx="8618537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/>
            <a:r>
              <a:rPr lang="en-US" sz="2400" dirty="0"/>
              <a:t>What are the top 3 data points that impact the used Volkswagen car prices in the market?</a:t>
            </a:r>
          </a:p>
        </p:txBody>
      </p:sp>
      <p:grpSp>
        <p:nvGrpSpPr>
          <p:cNvPr id="49" name="Google Shape;49;p3"/>
          <p:cNvGrpSpPr/>
          <p:nvPr/>
        </p:nvGrpSpPr>
        <p:grpSpPr>
          <a:xfrm>
            <a:off x="703950" y="1728758"/>
            <a:ext cx="7341871" cy="1462345"/>
            <a:chOff x="709649" y="1412776"/>
            <a:chExt cx="7491440" cy="1492136"/>
          </a:xfrm>
        </p:grpSpPr>
        <p:sp>
          <p:nvSpPr>
            <p:cNvPr id="50" name="Google Shape;50;p3"/>
            <p:cNvSpPr/>
            <p:nvPr/>
          </p:nvSpPr>
          <p:spPr>
            <a:xfrm>
              <a:off x="883141" y="1511552"/>
              <a:ext cx="3663767" cy="1393360"/>
            </a:xfrm>
            <a:prstGeom prst="rect">
              <a:avLst/>
            </a:prstGeom>
            <a:solidFill>
              <a:srgbClr val="F2F2F2">
                <a:alpha val="84705"/>
              </a:srgbClr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136">
                <a:solidFill>
                  <a:srgbClr val="888C9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51;p3"/>
            <p:cNvSpPr/>
            <p:nvPr/>
          </p:nvSpPr>
          <p:spPr>
            <a:xfrm>
              <a:off x="946036" y="1884195"/>
              <a:ext cx="3528392" cy="6480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Problem 1</a:t>
              </a:r>
              <a:endParaRPr dirty="0"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There is no reliable prediction model to come up with the right price of a car</a:t>
              </a:r>
              <a:endParaRPr dirty="0"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709649" y="1412776"/>
              <a:ext cx="381642" cy="392605"/>
            </a:xfrm>
            <a:prstGeom prst="ellipse">
              <a:avLst/>
            </a:prstGeom>
            <a:solidFill>
              <a:srgbClr val="F2F2F2"/>
            </a:solidFill>
            <a:ln w="28575" cap="flat" cmpd="sng">
              <a:solidFill>
                <a:srgbClr val="F5AF3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372" b="1" dirty="0">
                  <a:solidFill>
                    <a:srgbClr val="002060"/>
                  </a:solidFill>
                  <a:latin typeface="Quattrocento Sans"/>
                  <a:sym typeface="Quattrocento Sans"/>
                </a:rPr>
                <a:t>1</a:t>
              </a:r>
              <a:endParaRPr dirty="0"/>
            </a:p>
          </p:txBody>
        </p:sp>
        <p:sp>
          <p:nvSpPr>
            <p:cNvPr id="53" name="Google Shape;53;p3"/>
            <p:cNvSpPr/>
            <p:nvPr/>
          </p:nvSpPr>
          <p:spPr>
            <a:xfrm>
              <a:off x="4537322" y="1511552"/>
              <a:ext cx="3663767" cy="1393360"/>
            </a:xfrm>
            <a:prstGeom prst="rect">
              <a:avLst/>
            </a:prstGeom>
            <a:solidFill>
              <a:srgbClr val="F6A40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68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54;p3"/>
            <p:cNvSpPr/>
            <p:nvPr/>
          </p:nvSpPr>
          <p:spPr>
            <a:xfrm>
              <a:off x="4631189" y="1690075"/>
              <a:ext cx="3528392" cy="101733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algn="ctr"/>
              <a:r>
                <a:rPr lang="en-US" sz="1176" b="1" dirty="0">
                  <a:solidFill>
                    <a:srgbClr val="002060"/>
                  </a:solidFill>
                  <a:latin typeface="Quattrocento Sans"/>
                </a:rPr>
                <a:t>Being able to predict car prices will be very helpful to car buyers, sellers and used car galleries.</a:t>
              </a:r>
            </a:p>
            <a:p>
              <a:pPr algn="ctr"/>
              <a:endParaRPr lang="en-US" sz="1176" b="1" dirty="0">
                <a:solidFill>
                  <a:srgbClr val="002060"/>
                </a:solidFill>
                <a:latin typeface="Quattrocento Sans"/>
              </a:endParaRPr>
            </a:p>
            <a:p>
              <a:pPr algn="ctr"/>
              <a:r>
                <a:rPr lang="en-US" sz="1176" b="1" dirty="0">
                  <a:solidFill>
                    <a:srgbClr val="002060"/>
                  </a:solidFill>
                  <a:latin typeface="Quattrocento Sans"/>
                </a:rPr>
                <a:t>Efficient pricing would bring a more efficient and fair market.</a:t>
              </a:r>
              <a:endParaRPr sz="1176" b="1" dirty="0">
                <a:solidFill>
                  <a:srgbClr val="002060"/>
                </a:solidFill>
                <a:latin typeface="Quattrocento Sans"/>
              </a:endParaRPr>
            </a:p>
          </p:txBody>
        </p:sp>
      </p:grpSp>
      <p:sp>
        <p:nvSpPr>
          <p:cNvPr id="55" name="Google Shape;55;p3"/>
          <p:cNvSpPr/>
          <p:nvPr/>
        </p:nvSpPr>
        <p:spPr>
          <a:xfrm>
            <a:off x="873978" y="3707272"/>
            <a:ext cx="3590619" cy="1365541"/>
          </a:xfrm>
          <a:prstGeom prst="rect">
            <a:avLst/>
          </a:prstGeom>
          <a:solidFill>
            <a:srgbClr val="F2F2F2">
              <a:alpha val="8470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136">
              <a:solidFill>
                <a:srgbClr val="888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3"/>
          <p:cNvSpPr/>
          <p:nvPr/>
        </p:nvSpPr>
        <p:spPr>
          <a:xfrm>
            <a:off x="957296" y="4073329"/>
            <a:ext cx="3457947" cy="635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en-AU" sz="1176" b="1" dirty="0">
                <a:solidFill>
                  <a:srgbClr val="002060"/>
                </a:solidFill>
                <a:latin typeface="Quattrocento Sans"/>
                <a:sym typeface="Quattrocento Sans"/>
              </a:rPr>
              <a:t>Problem 2</a:t>
            </a:r>
          </a:p>
          <a:p>
            <a:pPr lvl="0" algn="ctr"/>
            <a:r>
              <a:rPr lang="en-AU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There are many categorical and continuous variables that impact car prices</a:t>
            </a:r>
            <a:endParaRPr lang="en-AU" sz="1200" dirty="0"/>
          </a:p>
        </p:txBody>
      </p:sp>
      <p:sp>
        <p:nvSpPr>
          <p:cNvPr id="57" name="Google Shape;57;p3"/>
          <p:cNvSpPr/>
          <p:nvPr/>
        </p:nvSpPr>
        <p:spPr>
          <a:xfrm>
            <a:off x="703950" y="3610468"/>
            <a:ext cx="374022" cy="384767"/>
          </a:xfrm>
          <a:prstGeom prst="ellipse">
            <a:avLst/>
          </a:prstGeom>
          <a:solidFill>
            <a:srgbClr val="F2F2F2"/>
          </a:solidFill>
          <a:ln w="28575" cap="flat" cmpd="sng">
            <a:solidFill>
              <a:srgbClr val="F5AF3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372" b="1" dirty="0">
                <a:solidFill>
                  <a:srgbClr val="002060"/>
                </a:solidFill>
                <a:latin typeface="Quattrocento Sans"/>
                <a:sym typeface="Quattrocento Sans"/>
              </a:rPr>
              <a:t>2</a:t>
            </a:r>
            <a:endParaRPr dirty="0"/>
          </a:p>
        </p:txBody>
      </p:sp>
      <p:sp>
        <p:nvSpPr>
          <p:cNvPr id="58" name="Google Shape;58;p3"/>
          <p:cNvSpPr/>
          <p:nvPr/>
        </p:nvSpPr>
        <p:spPr>
          <a:xfrm>
            <a:off x="4415243" y="3707272"/>
            <a:ext cx="3590619" cy="1365541"/>
          </a:xfrm>
          <a:prstGeom prst="rect">
            <a:avLst/>
          </a:prstGeom>
          <a:solidFill>
            <a:srgbClr val="F6A401">
              <a:alpha val="8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68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p3"/>
          <p:cNvSpPr/>
          <p:nvPr/>
        </p:nvSpPr>
        <p:spPr>
          <a:xfrm>
            <a:off x="4513068" y="3907692"/>
            <a:ext cx="3457947" cy="8160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Even though we come up with an equation, categorical variables would still impact car prices a lot, so a second iteration of modelling is always possible.</a:t>
            </a:r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A8DC32-5863-2F4B-B924-063E9D456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9944" y="517596"/>
            <a:ext cx="5681551" cy="430887"/>
          </a:xfrm>
        </p:spPr>
        <p:txBody>
          <a:bodyPr/>
          <a:lstStyle/>
          <a:p>
            <a:pPr algn="ctr"/>
            <a:r>
              <a:rPr lang="en-US" sz="2800" dirty="0"/>
              <a:t>Regression – Key Insigh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1EEF54-1FE1-6B44-BE95-7B9917341911}"/>
              </a:ext>
            </a:extLst>
          </p:cNvPr>
          <p:cNvSpPr txBox="1"/>
          <p:nvPr/>
        </p:nvSpPr>
        <p:spPr>
          <a:xfrm>
            <a:off x="4312692" y="2842654"/>
            <a:ext cx="184731" cy="2507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029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B357A29-7569-6447-A723-82D5BD61B54C}"/>
              </a:ext>
            </a:extLst>
          </p:cNvPr>
          <p:cNvSpPr txBox="1">
            <a:spLocks/>
          </p:cNvSpPr>
          <p:nvPr/>
        </p:nvSpPr>
        <p:spPr>
          <a:xfrm>
            <a:off x="5070764" y="3557223"/>
            <a:ext cx="3516297" cy="2676539"/>
          </a:xfrm>
          <a:prstGeom prst="rect">
            <a:avLst/>
          </a:prstGeom>
        </p:spPr>
        <p:txBody>
          <a:bodyPr vert="horz" lIns="67211" tIns="33605" rIns="67211" bIns="33605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The model we built predicts price as an equation of independent variables year, tax, mileage, MPG and engine size.</a:t>
            </a:r>
          </a:p>
          <a:p>
            <a:r>
              <a:rPr lang="en-US" sz="1200" dirty="0"/>
              <a:t>With a R-squared value of .756, the model is reliable for most cases and predicts prices accurately.</a:t>
            </a:r>
          </a:p>
          <a:p>
            <a:r>
              <a:rPr lang="en-US" sz="1200" dirty="0"/>
              <a:t>The model performs better for prices under 25,000 and skews more when price is higher. </a:t>
            </a:r>
          </a:p>
          <a:p>
            <a:pPr lvl="1"/>
            <a:r>
              <a:rPr lang="en-US" sz="1200" dirty="0"/>
              <a:t>80% of all prices are below 25,000.</a:t>
            </a:r>
          </a:p>
          <a:p>
            <a:r>
              <a:rPr lang="en-US" sz="1200" dirty="0"/>
              <a:t>Categorical factors such as </a:t>
            </a:r>
            <a:r>
              <a:rPr lang="en-US" sz="1200" b="1" dirty="0"/>
              <a:t>transmission, model and fuel type</a:t>
            </a:r>
            <a:r>
              <a:rPr lang="en-US" sz="1200" dirty="0"/>
              <a:t> should also be taken into consideration since these also have considerable impact on prices.</a:t>
            </a:r>
          </a:p>
          <a:p>
            <a:endParaRPr lang="en-US" sz="1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D453CB1-AE65-994B-9841-7B933D940B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053" y="1040525"/>
            <a:ext cx="8364008" cy="228338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B6BB215-E117-4342-B7EF-9BFBE481A4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940" y="3428034"/>
            <a:ext cx="4269546" cy="2934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4270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4"/>
          <p:cNvSpPr txBox="1">
            <a:spLocks noGrp="1"/>
          </p:cNvSpPr>
          <p:nvPr>
            <p:ph type="title"/>
          </p:nvPr>
        </p:nvSpPr>
        <p:spPr>
          <a:xfrm>
            <a:off x="171451" y="130438"/>
            <a:ext cx="8618537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2400" dirty="0"/>
              <a:t>We applied Descriptive and Inferential statistics to uncover which metrics could be impacting the used car prices</a:t>
            </a:r>
            <a:endParaRPr sz="2400" dirty="0"/>
          </a:p>
        </p:txBody>
      </p:sp>
      <p:cxnSp>
        <p:nvCxnSpPr>
          <p:cNvPr id="89" name="Google Shape;89;p4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" name="Google Shape;90;p4"/>
          <p:cNvSpPr/>
          <p:nvPr/>
        </p:nvSpPr>
        <p:spPr>
          <a:xfrm>
            <a:off x="2779646" y="1713518"/>
            <a:ext cx="3590619" cy="1647219"/>
          </a:xfrm>
          <a:prstGeom prst="rect">
            <a:avLst/>
          </a:prstGeom>
          <a:solidFill>
            <a:srgbClr val="F2F2F2">
              <a:alpha val="84705"/>
            </a:srgbClr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0" algn="ctr">
              <a:buSzPts val="1400"/>
            </a:pPr>
            <a:r>
              <a:rPr lang="en-US" sz="1800" b="1" dirty="0"/>
              <a:t>What are the top 3 data points that impact the used Volkswagen car prices in the market?</a:t>
            </a:r>
          </a:p>
        </p:txBody>
      </p:sp>
      <p:sp>
        <p:nvSpPr>
          <p:cNvPr id="91" name="Google Shape;91;p4"/>
          <p:cNvSpPr/>
          <p:nvPr/>
        </p:nvSpPr>
        <p:spPr>
          <a:xfrm>
            <a:off x="431217" y="4290069"/>
            <a:ext cx="3590619" cy="1647219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" name="Google Shape;92;p4"/>
          <p:cNvCxnSpPr/>
          <p:nvPr/>
        </p:nvCxnSpPr>
        <p:spPr>
          <a:xfrm flipH="1">
            <a:off x="3385133" y="3772869"/>
            <a:ext cx="1" cy="516048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3" name="Google Shape;93;p4"/>
          <p:cNvSpPr/>
          <p:nvPr/>
        </p:nvSpPr>
        <p:spPr>
          <a:xfrm>
            <a:off x="4939604" y="4288917"/>
            <a:ext cx="3590619" cy="1647219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4" name="Google Shape;94;p4"/>
          <p:cNvCxnSpPr/>
          <p:nvPr/>
        </p:nvCxnSpPr>
        <p:spPr>
          <a:xfrm flipH="1">
            <a:off x="5465485" y="3771717"/>
            <a:ext cx="1" cy="516048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5" name="Google Shape;95;p4"/>
          <p:cNvCxnSpPr/>
          <p:nvPr/>
        </p:nvCxnSpPr>
        <p:spPr>
          <a:xfrm>
            <a:off x="3385133" y="3771717"/>
            <a:ext cx="2035166" cy="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6" name="Google Shape;96;p4"/>
          <p:cNvCxnSpPr>
            <a:stCxn id="90" idx="2"/>
          </p:cNvCxnSpPr>
          <p:nvPr/>
        </p:nvCxnSpPr>
        <p:spPr>
          <a:xfrm>
            <a:off x="4574956" y="3360737"/>
            <a:ext cx="0" cy="41100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7" name="Google Shape;97;p4"/>
          <p:cNvSpPr txBox="1"/>
          <p:nvPr/>
        </p:nvSpPr>
        <p:spPr>
          <a:xfrm>
            <a:off x="684164" y="4679660"/>
            <a:ext cx="3084723" cy="1077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scriptive Statistics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>
                <a:solidFill>
                  <a:schemeClr val="dk1"/>
                </a:solidFill>
              </a:rPr>
              <a:t>Box Plots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>
                <a:solidFill>
                  <a:schemeClr val="dk1"/>
                </a:solidFill>
              </a:rPr>
              <a:t>Scatter Plots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>
                <a:solidFill>
                  <a:schemeClr val="dk1"/>
                </a:solidFill>
              </a:rPr>
              <a:t>Line Plots</a:t>
            </a:r>
            <a:endParaRPr dirty="0"/>
          </a:p>
        </p:txBody>
      </p:sp>
      <p:sp>
        <p:nvSpPr>
          <p:cNvPr id="98" name="Google Shape;98;p4"/>
          <p:cNvSpPr txBox="1"/>
          <p:nvPr/>
        </p:nvSpPr>
        <p:spPr>
          <a:xfrm>
            <a:off x="5192551" y="4679660"/>
            <a:ext cx="3084723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ferential Statistics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>
                <a:solidFill>
                  <a:schemeClr val="dk1"/>
                </a:solidFill>
              </a:rPr>
              <a:t>Regression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>
                <a:solidFill>
                  <a:schemeClr val="dk1"/>
                </a:solidFill>
              </a:rPr>
              <a:t>Correlation</a:t>
            </a:r>
            <a:endParaRPr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3F233F-4C99-5247-95D3-1888A8B4E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736" y="276328"/>
            <a:ext cx="8136874" cy="1292662"/>
          </a:xfrm>
        </p:spPr>
        <p:txBody>
          <a:bodyPr/>
          <a:lstStyle/>
          <a:p>
            <a:pPr algn="ctr"/>
            <a:r>
              <a:rPr lang="en-US" sz="2800" dirty="0"/>
              <a:t>Summary of Dataset Used</a:t>
            </a:r>
            <a:br>
              <a:rPr lang="en-US" sz="2800" dirty="0"/>
            </a:br>
            <a:r>
              <a:rPr lang="en-US" sz="2800" dirty="0"/>
              <a:t>Columns &amp; Descriptive Statistics 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AA0527-BC42-4D4F-AFFB-968A755EF6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736" y="1479663"/>
            <a:ext cx="4031218" cy="4705002"/>
          </a:xfrm>
        </p:spPr>
        <p:txBody>
          <a:bodyPr numCol="1">
            <a:noAutofit/>
          </a:bodyPr>
          <a:lstStyle/>
          <a:p>
            <a:pPr marL="0" indent="0"/>
            <a:r>
              <a:rPr lang="en-US" sz="1800" dirty="0"/>
              <a:t>The analysis is based on 15.157 </a:t>
            </a:r>
            <a:r>
              <a:rPr lang="en-US" sz="1800" b="1" dirty="0"/>
              <a:t>Volkswagen </a:t>
            </a:r>
            <a:r>
              <a:rPr lang="en-US" sz="1800" dirty="0"/>
              <a:t>used car sales between the years of </a:t>
            </a:r>
            <a:r>
              <a:rPr lang="en-US" sz="1800" b="1" dirty="0"/>
              <a:t>2000 and 2020</a:t>
            </a:r>
            <a:r>
              <a:rPr lang="en-US" sz="1800" dirty="0"/>
              <a:t>.  The dataset has the below variables: </a:t>
            </a:r>
          </a:p>
          <a:p>
            <a:pPr marL="0" indent="0"/>
            <a:endParaRPr lang="en-US" sz="1176" dirty="0"/>
          </a:p>
          <a:p>
            <a:r>
              <a:rPr lang="en-US" sz="1200" dirty="0"/>
              <a:t>Price (continuous): Sale price of car</a:t>
            </a:r>
          </a:p>
          <a:p>
            <a:r>
              <a:rPr lang="en-US" sz="1200" dirty="0"/>
              <a:t>Model (categorical): Model of car</a:t>
            </a:r>
          </a:p>
          <a:p>
            <a:r>
              <a:rPr lang="en-US" sz="1200" dirty="0"/>
              <a:t>Year (continuous): Model year of car</a:t>
            </a:r>
          </a:p>
          <a:p>
            <a:r>
              <a:rPr lang="en-US" sz="1200" dirty="0"/>
              <a:t>Transmission Type (categorical): Transmission system of car</a:t>
            </a:r>
          </a:p>
          <a:p>
            <a:r>
              <a:rPr lang="en-US" sz="1200" dirty="0"/>
              <a:t>Mileage (continuous): Miles on car odometer when sold</a:t>
            </a:r>
            <a:endParaRPr lang="en-US" sz="1200" dirty="0">
              <a:solidFill>
                <a:srgbClr val="000000">
                  <a:lumMod val="85000"/>
                  <a:lumOff val="15000"/>
                </a:srgbClr>
              </a:solidFill>
            </a:endParaRPr>
          </a:p>
          <a:p>
            <a:pPr lvl="0">
              <a:buClr>
                <a:srgbClr val="9BAFB5"/>
              </a:buClr>
            </a:pPr>
            <a:r>
              <a:rPr lang="en-US" sz="12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Fuel Type (categorical): Fuel system of car</a:t>
            </a:r>
          </a:p>
          <a:p>
            <a:pPr lvl="0">
              <a:buClr>
                <a:srgbClr val="9BAFB5"/>
              </a:buClr>
            </a:pPr>
            <a:r>
              <a:rPr lang="en-US" sz="12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Tax (continuous): Sales tax of car</a:t>
            </a:r>
          </a:p>
          <a:p>
            <a:pPr lvl="0">
              <a:buClr>
                <a:srgbClr val="9BAFB5"/>
              </a:buClr>
            </a:pPr>
            <a:r>
              <a:rPr lang="en-US" sz="12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MPG (continuous): Miles the car can be driven with a gallon of fuel</a:t>
            </a:r>
          </a:p>
          <a:p>
            <a:pPr lvl="0">
              <a:buClr>
                <a:srgbClr val="9BAFB5"/>
              </a:buClr>
            </a:pPr>
            <a:r>
              <a:rPr lang="en-US" sz="12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Engine Size (continuous): Size of car engine in liters</a:t>
            </a:r>
          </a:p>
          <a:p>
            <a:pPr lvl="0">
              <a:buClr>
                <a:srgbClr val="9BAFB5"/>
              </a:buClr>
            </a:pPr>
            <a:endParaRPr lang="en-US" sz="1176" dirty="0">
              <a:solidFill>
                <a:srgbClr val="000000">
                  <a:lumMod val="85000"/>
                  <a:lumOff val="15000"/>
                </a:srgbClr>
              </a:solidFill>
            </a:endParaRPr>
          </a:p>
          <a:p>
            <a:pPr lvl="0">
              <a:buClr>
                <a:srgbClr val="9BAFB5"/>
              </a:buClr>
            </a:pPr>
            <a:endParaRPr lang="en-US" sz="1176" dirty="0">
              <a:solidFill>
                <a:srgbClr val="000000">
                  <a:lumMod val="85000"/>
                  <a:lumOff val="15000"/>
                </a:srgbClr>
              </a:solidFill>
            </a:endParaRPr>
          </a:p>
          <a:p>
            <a:pPr marL="0" lvl="0" indent="0"/>
            <a:r>
              <a:rPr lang="en-US" sz="1800" dirty="0"/>
              <a:t>There were no null values in any of the fields so we did not do any cleansing to start with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5933C39-BE1F-1343-968C-36AB4EE5E7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8132" y="1479663"/>
            <a:ext cx="3707794" cy="182431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CDD5463-F4BB-4E4B-B99E-1CB49AC3C0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8132" y="3611603"/>
            <a:ext cx="3707794" cy="2668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9487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86A706-5350-5342-BAF9-31774CE59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stogram of Car Pric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15C81B4-FBDA-D842-A474-3419B80E7CB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662" r="50280"/>
          <a:stretch/>
        </p:blipFill>
        <p:spPr>
          <a:xfrm>
            <a:off x="1251304" y="1142014"/>
            <a:ext cx="6458829" cy="42635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0012587-3049-5B43-A3BF-FB9D8291839C}"/>
              </a:ext>
            </a:extLst>
          </p:cNvPr>
          <p:cNvSpPr/>
          <p:nvPr/>
        </p:nvSpPr>
        <p:spPr>
          <a:xfrm>
            <a:off x="390857" y="5518317"/>
            <a:ext cx="767248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latin typeface="Helvetica Neue" panose="02000503000000020004" pitchFamily="2" charset="0"/>
              </a:rPr>
              <a:t>The histogram shows an asymmetric distribution of car price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Helvetica Neue" panose="02000503000000020004" pitchFamily="2" charset="0"/>
              </a:rPr>
              <a:t>Car prices are mostly between 10.000 and 20.000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Helvetica Neue" panose="02000503000000020004" pitchFamily="2" charset="0"/>
              </a:rPr>
              <a:t>The car price histogram is significantly left skewed.</a:t>
            </a:r>
          </a:p>
        </p:txBody>
      </p:sp>
    </p:spTree>
    <p:extLst>
      <p:ext uri="{BB962C8B-B14F-4D97-AF65-F5344CB8AC3E}">
        <p14:creationId xmlns:p14="http://schemas.microsoft.com/office/powerpoint/2010/main" val="36260043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86A706-5350-5342-BAF9-31774CE59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relation Matrix of Variables</a:t>
            </a:r>
          </a:p>
        </p:txBody>
      </p:sp>
      <p:sp>
        <p:nvSpPr>
          <p:cNvPr id="4" name="Google Shape;90;p4">
            <a:extLst>
              <a:ext uri="{FF2B5EF4-FFF2-40B4-BE49-F238E27FC236}">
                <a16:creationId xmlns:a16="http://schemas.microsoft.com/office/drawing/2014/main" id="{7634207D-0E51-AA4D-AC30-D87D92BF03F0}"/>
              </a:ext>
            </a:extLst>
          </p:cNvPr>
          <p:cNvSpPr/>
          <p:nvPr/>
        </p:nvSpPr>
        <p:spPr>
          <a:xfrm>
            <a:off x="171450" y="1014153"/>
            <a:ext cx="8618537" cy="2363210"/>
          </a:xfrm>
          <a:prstGeom prst="rect">
            <a:avLst/>
          </a:prstGeom>
          <a:solidFill>
            <a:srgbClr val="F2F2F2">
              <a:alpha val="84705"/>
            </a:srgbClr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r>
              <a:rPr lang="en-US" sz="1800" b="1" dirty="0"/>
              <a:t>Model year is the top factor determining the prices.</a:t>
            </a:r>
          </a:p>
          <a:p>
            <a:r>
              <a:rPr lang="en-US" sz="1800" dirty="0"/>
              <a:t>Year and engine size are the </a:t>
            </a:r>
            <a:r>
              <a:rPr lang="en-US" sz="1800" b="1" dirty="0"/>
              <a:t>top positively correlated </a:t>
            </a:r>
            <a:r>
              <a:rPr lang="en-US" sz="1800" dirty="0"/>
              <a:t>data points when determining the prices.</a:t>
            </a:r>
          </a:p>
          <a:p>
            <a:r>
              <a:rPr lang="en-US" sz="1800" dirty="0"/>
              <a:t>Mileage and MPG are the </a:t>
            </a:r>
            <a:r>
              <a:rPr lang="en-US" sz="1800" b="1" dirty="0"/>
              <a:t>top negatively correlated </a:t>
            </a:r>
            <a:r>
              <a:rPr lang="en-US" sz="1800" dirty="0"/>
              <a:t>data points when determining the prices.</a:t>
            </a:r>
          </a:p>
          <a:p>
            <a:r>
              <a:rPr lang="en-US" sz="1800" dirty="0"/>
              <a:t>Looking at the whole dataset we can see the </a:t>
            </a:r>
            <a:r>
              <a:rPr lang="en-US" sz="1800" b="1" dirty="0"/>
              <a:t>highest correlation is between mileage and year</a:t>
            </a:r>
            <a:r>
              <a:rPr lang="en-US" sz="1800" dirty="0"/>
              <a:t> and the correlation is negative.</a:t>
            </a:r>
            <a:endParaRPr lang="en-US" sz="1800" b="1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217D5C9-72E7-864C-A75C-9225D8756E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50" y="3541842"/>
            <a:ext cx="8618537" cy="2721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6011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1600" dirty="0"/>
              <a:t>We were able to see that automatic cars, cars with larger engines, hybrid cars, and California, </a:t>
            </a:r>
            <a:r>
              <a:rPr lang="en-US" sz="1600" dirty="0" err="1"/>
              <a:t>Caravelle</a:t>
            </a:r>
            <a:r>
              <a:rPr lang="en-US" sz="1600" dirty="0"/>
              <a:t>, </a:t>
            </a:r>
            <a:r>
              <a:rPr lang="en-US" sz="1600" dirty="0" err="1"/>
              <a:t>Touareg</a:t>
            </a:r>
            <a:r>
              <a:rPr lang="en-US" sz="1600" dirty="0"/>
              <a:t> models have higher prices.</a:t>
            </a:r>
          </a:p>
        </p:txBody>
      </p:sp>
      <p:cxnSp>
        <p:nvCxnSpPr>
          <p:cNvPr id="104" name="Google Shape;104;p5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9" name="Google Shape;109;p5"/>
          <p:cNvSpPr txBox="1"/>
          <p:nvPr/>
        </p:nvSpPr>
        <p:spPr>
          <a:xfrm>
            <a:off x="285363" y="5177644"/>
            <a:ext cx="8579186" cy="738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r>
              <a:rPr lang="en-US" dirty="0"/>
              <a:t>Amarok, </a:t>
            </a:r>
            <a:r>
              <a:rPr lang="en-US" dirty="0" err="1"/>
              <a:t>Arteon</a:t>
            </a:r>
            <a:r>
              <a:rPr lang="en-US" dirty="0"/>
              <a:t> and Tiguan </a:t>
            </a:r>
            <a:r>
              <a:rPr lang="en-US" dirty="0" err="1"/>
              <a:t>Allspace</a:t>
            </a:r>
            <a:r>
              <a:rPr lang="en-US" dirty="0"/>
              <a:t> are other highly priced models.</a:t>
            </a:r>
          </a:p>
          <a:p>
            <a:r>
              <a:rPr lang="en-US" dirty="0"/>
              <a:t>Average prices of most popular models | Golf: $16.7k, Polo: $11.3k, Tiguan: $21.6k</a:t>
            </a:r>
          </a:p>
          <a:p>
            <a:r>
              <a:rPr lang="en-US" dirty="0"/>
              <a:t>3.0 engine and </a:t>
            </a:r>
            <a:r>
              <a:rPr lang="en-US" dirty="0" err="1"/>
              <a:t>Touareg</a:t>
            </a:r>
            <a:r>
              <a:rPr lang="en-US" dirty="0"/>
              <a:t> car model had high price variety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40CE6B-723C-0A45-B827-70C2D68AF7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0" y="966041"/>
            <a:ext cx="2700936" cy="17603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D15883D-84AD-4E43-834B-11419C782E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89239" y="966041"/>
            <a:ext cx="2624748" cy="171065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8A9A092-151C-2043-B0E9-4DF708D0AE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28114" y="966041"/>
            <a:ext cx="2700937" cy="176031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B67E6F0-5B47-584C-92B3-1CF0454F39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2468" y="2868133"/>
            <a:ext cx="8430437" cy="2068421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1600" dirty="0"/>
              <a:t>Mileage and MPG are negatively correlated with price as we can also confirm on these scatterplots.</a:t>
            </a:r>
          </a:p>
        </p:txBody>
      </p:sp>
      <p:cxnSp>
        <p:nvCxnSpPr>
          <p:cNvPr id="104" name="Google Shape;104;p5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A328156-7DD8-C746-8C96-EB1AD7FE44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432" y="1123035"/>
            <a:ext cx="3959889" cy="258444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2256291-09B8-A042-8E21-991FC6C25C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54107" y="1123035"/>
            <a:ext cx="3973359" cy="2584441"/>
          </a:xfrm>
          <a:prstGeom prst="rect">
            <a:avLst/>
          </a:prstGeom>
        </p:spPr>
      </p:pic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AB596FAF-114C-C045-B2F7-CFA0CFF01F9F}"/>
              </a:ext>
            </a:extLst>
          </p:cNvPr>
          <p:cNvSpPr txBox="1">
            <a:spLocks/>
          </p:cNvSpPr>
          <p:nvPr/>
        </p:nvSpPr>
        <p:spPr>
          <a:xfrm>
            <a:off x="4480719" y="3838423"/>
            <a:ext cx="4046748" cy="7510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Mileage is negatively correlated with price</a:t>
            </a:r>
          </a:p>
          <a:p>
            <a:r>
              <a:rPr lang="en-US" dirty="0"/>
              <a:t>Higher mileage means that the car would have more wear and tear over the years.</a:t>
            </a:r>
          </a:p>
          <a:p>
            <a:r>
              <a:rPr lang="en-US" dirty="0"/>
              <a:t>A closer look to the scatter plot supports the negative correlation.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86B91ED1-C2F1-4E4A-88AC-C02C07B649B1}"/>
              </a:ext>
            </a:extLst>
          </p:cNvPr>
          <p:cNvSpPr txBox="1">
            <a:spLocks/>
          </p:cNvSpPr>
          <p:nvPr/>
        </p:nvSpPr>
        <p:spPr>
          <a:xfrm>
            <a:off x="342372" y="3870781"/>
            <a:ext cx="4046748" cy="7510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MPG is negatively correlated with price.</a:t>
            </a:r>
          </a:p>
          <a:p>
            <a:r>
              <a:rPr lang="en-US" b="1" dirty="0"/>
              <a:t>Highly priced luxury cars such as SUVs are known to have lower MPG</a:t>
            </a:r>
          </a:p>
          <a:p>
            <a:r>
              <a:rPr lang="en-US" dirty="0"/>
              <a:t>A closer look to the scatter plot supports the strong negative correlation.</a:t>
            </a:r>
          </a:p>
        </p:txBody>
      </p:sp>
    </p:spTree>
    <p:extLst>
      <p:ext uri="{BB962C8B-B14F-4D97-AF65-F5344CB8AC3E}">
        <p14:creationId xmlns:p14="http://schemas.microsoft.com/office/powerpoint/2010/main" val="1128715136"/>
      </p:ext>
    </p:extLst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Parcel">
  <a:themeElements>
    <a:clrScheme name="Parcel">
      <a:dk1>
        <a:srgbClr val="000000"/>
      </a:dk1>
      <a:lt1>
        <a:srgbClr val="FFFFFF"/>
      </a:lt1>
      <a:dk2>
        <a:srgbClr val="4A5356"/>
      </a:dk2>
      <a:lt2>
        <a:srgbClr val="E8E3CE"/>
      </a:lt2>
      <a:accent1>
        <a:srgbClr val="F6A21D"/>
      </a:accent1>
      <a:accent2>
        <a:srgbClr val="9BAFB5"/>
      </a:accent2>
      <a:accent3>
        <a:srgbClr val="C96731"/>
      </a:accent3>
      <a:accent4>
        <a:srgbClr val="9CA383"/>
      </a:accent4>
      <a:accent5>
        <a:srgbClr val="87795D"/>
      </a:accent5>
      <a:accent6>
        <a:srgbClr val="A0988C"/>
      </a:accent6>
      <a:hlink>
        <a:srgbClr val="00B0F0"/>
      </a:hlink>
      <a:folHlink>
        <a:srgbClr val="738F97"/>
      </a:folHlink>
    </a:clrScheme>
    <a:fontScheme name="Parcel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cel" id="{8BEC4385-4EB9-4D53-BFB5-0EA123736B6D}" vid="{4DB32801-28C0-48B0-8C1D-A9A58613615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8</TotalTime>
  <Words>670</Words>
  <Application>Microsoft Macintosh PowerPoint</Application>
  <PresentationFormat>Custom</PresentationFormat>
  <Paragraphs>65</Paragraphs>
  <Slides>1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Gill Sans MT</vt:lpstr>
      <vt:lpstr>Helvetica Neue</vt:lpstr>
      <vt:lpstr>Quattrocento Sans</vt:lpstr>
      <vt:lpstr>Synergy_CF_YNR002</vt:lpstr>
      <vt:lpstr>1_Synergy_CF_YNR002</vt:lpstr>
      <vt:lpstr>Parcel</vt:lpstr>
      <vt:lpstr>TCLayout.ActiveDocument.1</vt:lpstr>
      <vt:lpstr>Volkswagen used car market insights and predictions</vt:lpstr>
      <vt:lpstr>What are the top 3 data points that impact the used Volkswagen car prices in the market?</vt:lpstr>
      <vt:lpstr>Regression – Key Insights</vt:lpstr>
      <vt:lpstr>We applied Descriptive and Inferential statistics to uncover which metrics could be impacting the used car prices</vt:lpstr>
      <vt:lpstr>Summary of Dataset Used Columns &amp; Descriptive Statistics Summary</vt:lpstr>
      <vt:lpstr>Histogram of Car Prices</vt:lpstr>
      <vt:lpstr>Correlation Matrix of Variables</vt:lpstr>
      <vt:lpstr>We were able to see that automatic cars, cars with larger engines, hybrid cars, and California, Caravelle, Touareg models have higher prices.</vt:lpstr>
      <vt:lpstr>Mileage and MPG are negatively correlated with price as we can also confirm on these scatterplots.</vt:lpstr>
      <vt:lpstr>APPENDIX: SCATTERPLOT OF ALL CONTINUOUS VARIABL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Technical Presentation</dc:title>
  <dc:creator>Chris Hui</dc:creator>
  <cp:lastModifiedBy>Hande Utku</cp:lastModifiedBy>
  <cp:revision>24</cp:revision>
  <dcterms:created xsi:type="dcterms:W3CDTF">2015-09-14T11:37:31Z</dcterms:created>
  <dcterms:modified xsi:type="dcterms:W3CDTF">2020-10-05T20:1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